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7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C$17</cx:f>
        <cx:lvl ptCount="16">
          <cx:pt idx="0">Leaf 1</cx:pt>
          <cx:pt idx="1">Leaf 2</cx:pt>
          <cx:pt idx="2">Leaf 3</cx:pt>
          <cx:pt idx="3">Leaf 4</cx:pt>
          <cx:pt idx="4">Leaf 5</cx:pt>
          <cx:pt idx="5">Leaf 6</cx:pt>
          <cx:pt idx="6">Leaf 7</cx:pt>
          <cx:pt idx="7">Leaf 8</cx:pt>
          <cx:pt idx="8">Leaf 9</cx:pt>
          <cx:pt idx="9">Leaf 10</cx:pt>
          <cx:pt idx="10">Leaf 11</cx:pt>
          <cx:pt idx="11">Leaf 12</cx:pt>
          <cx:pt idx="12">Leaf 13</cx:pt>
          <cx:pt idx="13">Leaf 14</cx:pt>
          <cx:pt idx="14">Leaf 15</cx:pt>
          <cx:pt idx="15">Leaf 16</cx:pt>
        </cx:lvl>
        <cx:lvl ptCount="16">
          <cx:pt idx="0">Stem 1</cx:pt>
          <cx:pt idx="1">Stem 1</cx:pt>
          <cx:pt idx="2">Stem 1</cx:pt>
          <cx:pt idx="3">Stem 2</cx:pt>
          <cx:pt idx="4">Stem 2</cx:pt>
          <cx:pt idx="5">Stem 2</cx:pt>
          <cx:pt idx="6">Stem 2</cx:pt>
          <cx:pt idx="7">Stem 3</cx:pt>
          <cx:pt idx="8">Stem 3</cx:pt>
          <cx:pt idx="9">Stem 4</cx:pt>
          <cx:pt idx="10">Stem 4</cx:pt>
          <cx:pt idx="11">Stem 5</cx:pt>
          <cx:pt idx="12">Stem 5</cx:pt>
          <cx:pt idx="13">Stem 6</cx:pt>
          <cx:pt idx="14">Stem 6</cx:pt>
          <cx:pt idx="15">Stem 6</cx:pt>
        </cx:lvl>
        <cx:lvl ptCount="16">
          <cx:pt idx="0">Branch 1</cx:pt>
          <cx:pt idx="1">Branch 1</cx:pt>
          <cx:pt idx="2">Branch 1</cx:pt>
          <cx:pt idx="3">Branch 1</cx:pt>
          <cx:pt idx="4">Branch 1</cx:pt>
          <cx:pt idx="5">Branch 1</cx:pt>
          <cx:pt idx="6">Branch 1</cx:pt>
          <cx:pt idx="7">Branch 2</cx:pt>
          <cx:pt idx="8">Branch 2</cx:pt>
          <cx:pt idx="9">Branch 2</cx:pt>
          <cx:pt idx="10">Branch 2</cx:pt>
          <cx:pt idx="11">Branch 3</cx:pt>
          <cx:pt idx="12">Branch 3</cx:pt>
          <cx:pt idx="13">Branch 3</cx:pt>
          <cx:pt idx="14">Branch 3</cx:pt>
          <cx:pt idx="15">Branch 3</cx:pt>
        </cx:lvl>
      </cx:strDim>
      <cx:numDim type="size">
        <cx:f>Sheet1!$D$2:$D$17</cx:f>
        <cx:lvl ptCount="16" formatCode="General">
          <cx:pt idx="0">22</cx:pt>
          <cx:pt idx="1">12</cx:pt>
          <cx:pt idx="2">18</cx:pt>
          <cx:pt idx="3">87</cx:pt>
          <cx:pt idx="4">88</cx:pt>
          <cx:pt idx="5">17</cx:pt>
          <cx:pt idx="6">9</cx:pt>
          <cx:pt idx="7">25</cx:pt>
          <cx:pt idx="8">23</cx:pt>
          <cx:pt idx="9">24</cx:pt>
          <cx:pt idx="10">89</cx:pt>
          <cx:pt idx="11">16</cx:pt>
          <cx:pt idx="12">19</cx:pt>
          <cx:pt idx="13">86</cx:pt>
          <cx:pt idx="14">10</cx:pt>
          <cx:pt idx="15">11</cx:pt>
        </cx:lvl>
      </cx:numDim>
    </cx:data>
  </cx:chartData>
  <cx:chart>
    <cx:plotArea>
      <cx:plotAreaRegion>
        <cx:series layoutId="treemap" uniqueId="{9FDFBC22-5235-43E5-BA26-2F269FA6EC56}">
          <cx:tx>
            <cx:txData>
              <cx:f>Sheet1!$D$1</cx:f>
              <cx:v>Series1</cx:v>
            </cx:txData>
          </cx:tx>
          <cx:dataLabels pos="inEnd"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400"/>
                </a:pPr>
                <a:endParaRPr lang="en-US" sz="1400" b="0" i="0" u="none" strike="noStrike" baseline="0">
                  <a:solidFill>
                    <a:prstClr val="white"/>
                  </a:solidFill>
                  <a:latin typeface="Arial"/>
                </a:endParaRPr>
              </a:p>
            </cx:txPr>
            <cx:visibility seriesName="0" categoryName="1" value="0"/>
          </cx:dataLabels>
          <cx:dataId val="0"/>
          <cx:layoutPr>
            <cx:parentLabelLayout val="overlapping"/>
          </cx:layoutPr>
        </cx:series>
      </cx:plotAreaRegion>
    </cx:plotArea>
    <cx:legend pos="t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400"/>
          </a:pPr>
          <a:endParaRPr lang="en-US" sz="1400" b="0" i="0" u="none" strike="noStrike" baseline="0">
            <a:solidFill>
              <a:prstClr val="black">
                <a:lumMod val="65000"/>
                <a:lumOff val="35000"/>
              </a:prstClr>
            </a:solidFill>
            <a:latin typeface="Arial"/>
          </a:endParaRPr>
        </a:p>
      </cx:txPr>
    </cx:legend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1FC526-30A7-4C2D-5625-89BF33AADA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A777D9-EA2E-22B5-422C-8706055579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0EDB436-F0CE-3450-D67B-C5D4392C58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417810-6AB0-022D-92FB-303280FFA8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C9E73-F2F7-4C58-BF31-7F38D6994C8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28481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3.xml"/><Relationship Id="rId6" Type="http://schemas.microsoft.com/office/2014/relationships/chartEx" Target="../charts/chartEx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7CAD9B-E36C-40CC-0CA1-D897EAAAE6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262AF76-BE50-E4DE-33AB-B73E19924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62AF76-BE50-E4DE-33AB-B73E19924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DD1C5E1C-6263-3505-3D6F-9510C8DFDC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 err="1"/>
              <a:t>Treemap</a:t>
            </a:r>
            <a:r>
              <a:rPr lang="en-US" dirty="0"/>
              <a:t> / Tex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7B4D13B-A82A-C0AA-50AD-9FE3ADD26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F42143F5-DB27-878D-C1EB-6E021B9A24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B8F1133-AAD9-28F4-A4F3-B155F743D66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6" name="Chart Placeholder 7">
                <a:extLst>
                  <a:ext uri="{FF2B5EF4-FFF2-40B4-BE49-F238E27FC236}">
                    <a16:creationId xmlns:a16="http://schemas.microsoft.com/office/drawing/2014/main" id="{996A8ED7-B863-43F6-4855-4CF9ED3A83A2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4"/>
              </p:nvPr>
            </p:nvGraphicFramePr>
            <p:xfrm>
              <a:off x="554038" y="1720850"/>
              <a:ext cx="5245100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6" name="Chart Placeholder 7">
                <a:extLst>
                  <a:ext uri="{FF2B5EF4-FFF2-40B4-BE49-F238E27FC236}">
                    <a16:creationId xmlns:a16="http://schemas.microsoft.com/office/drawing/2014/main" id="{996A8ED7-B863-43F6-4855-4CF9ED3A83A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54038" y="1720850"/>
                <a:ext cx="5245100" cy="4456113"/>
              </a:xfrm>
              <a:prstGeom prst="rect">
                <a:avLst/>
              </a:prstGeom>
            </p:spPr>
          </p:pic>
        </mc:Fallback>
      </mc:AlternateContent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8AF0D29-1230-AF24-C1B5-703A8E13F0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Vivamus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senectus et netus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352E0185-E1D6-CFBC-892F-AF05CD2AB1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4158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4</TotalTime>
  <Words>85</Words>
  <Application>Microsoft Office PowerPoint</Application>
  <PresentationFormat>Widescreen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Treemap / 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13</cp:revision>
  <dcterms:created xsi:type="dcterms:W3CDTF">2025-07-09T10:57:17Z</dcterms:created>
  <dcterms:modified xsi:type="dcterms:W3CDTF">2025-10-22T09:59:35Z</dcterms:modified>
  <cp:category/>
</cp:coreProperties>
</file>